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24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02T09:40:23.281" v="58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02T09:40:23.281" v="58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02T09:12:06.567" v="48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Weigel Stefan (PAR-EPS)" userId="fd3b2067-2981-4ad8-bf3a-d2e1004e4fa8" providerId="ADAL" clId="{39CE93EC-824D-4111-9CF4-7755E5EAA73B}"/>
    <pc:docChg chg="modSld">
      <pc:chgData name="Weigel Stefan (PAR-EPS)" userId="fd3b2067-2981-4ad8-bf3a-d2e1004e4fa8" providerId="ADAL" clId="{39CE93EC-824D-4111-9CF4-7755E5EAA73B}" dt="2024-02-28T12:04:07.440" v="2" actId="27918"/>
      <pc:docMkLst>
        <pc:docMk/>
      </pc:docMkLst>
      <pc:sldChg chg="mod">
        <pc:chgData name="Weigel Stefan (PAR-EPS)" userId="fd3b2067-2981-4ad8-bf3a-d2e1004e4fa8" providerId="ADAL" clId="{39CE93EC-824D-4111-9CF4-7755E5EAA73B}" dt="2024-02-28T12:04:07.440" v="2" actId="27918"/>
        <pc:sldMkLst>
          <pc:docMk/>
          <pc:sldMk cId="3064315074" sldId="413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E7A0F7C-2499-4150-B115-A7A505765366}"/>
    <pc:docChg chg="modSld">
      <pc:chgData name="Weigel Stefan (PAR-EPS)" userId="fd3b2067-2981-4ad8-bf3a-d2e1004e4fa8" providerId="ADAL" clId="{4E7A0F7C-2499-4150-B115-A7A505765366}" dt="2024-02-13T15:48:56.619" v="35" actId="20577"/>
      <pc:docMkLst>
        <pc:docMk/>
      </pc:docMkLst>
      <pc:sldChg chg="modSp mod">
        <pc:chgData name="Weigel Stefan (PAR-EPS)" userId="fd3b2067-2981-4ad8-bf3a-d2e1004e4fa8" providerId="ADAL" clId="{4E7A0F7C-2499-4150-B115-A7A505765366}" dt="2024-02-13T15:48:56.619" v="35" actId="20577"/>
        <pc:sldMkLst>
          <pc:docMk/>
          <pc:sldMk cId="3064315074" sldId="413"/>
        </pc:sldMkLst>
        <pc:spChg chg="mod">
          <ac:chgData name="Weigel Stefan (PAR-EPS)" userId="fd3b2067-2981-4ad8-bf3a-d2e1004e4fa8" providerId="ADAL" clId="{4E7A0F7C-2499-4150-B115-A7A505765366}" dt="2024-02-02T10:26:02.477" v="2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E7A0F7C-2499-4150-B115-A7A505765366}" dt="2024-02-13T15:48:56.619" v="35" actId="2057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4E7A0F7C-2499-4150-B115-A7A505765366}" dt="2024-02-02T10:26:10.707" v="3"/>
          <ac:spMkLst>
            <pc:docMk/>
            <pc:sldMk cId="3064315074" sldId="413"/>
            <ac:spMk id="12" creationId="{00D4BB6A-0DD0-4B80-9845-0467B947A6BE}"/>
          </ac:spMkLst>
        </pc:spChg>
        <pc:graphicFrameChg chg="mod">
          <ac:chgData name="Weigel Stefan (PAR-EPS)" userId="fd3b2067-2981-4ad8-bf3a-d2e1004e4fa8" providerId="ADAL" clId="{4E7A0F7C-2499-4150-B115-A7A505765366}" dt="2024-02-02T10:28:00.226" v="4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Trains voyageurs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CFF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3142118826157994</c:v>
                </c:pt>
                <c:pt idx="1">
                  <c:v>16.3250504907116</c:v>
                </c:pt>
                <c:pt idx="2">
                  <c:v>16.087904558648599</c:v>
                </c:pt>
                <c:pt idx="3">
                  <c:v>26.963614637271998</c:v>
                </c:pt>
                <c:pt idx="4">
                  <c:v>26.795122685533599</c:v>
                </c:pt>
                <c:pt idx="5">
                  <c:v>35.948329827371303</c:v>
                </c:pt>
                <c:pt idx="6">
                  <c:v>40.885322477907202</c:v>
                </c:pt>
                <c:pt idx="7">
                  <c:v>50.249412561272401</c:v>
                </c:pt>
                <c:pt idx="8">
                  <c:v>62.830343658090698</c:v>
                </c:pt>
                <c:pt idx="9">
                  <c:v>66.839797872370497</c:v>
                </c:pt>
                <c:pt idx="10">
                  <c:v>69.770920003732897</c:v>
                </c:pt>
                <c:pt idx="11">
                  <c:v>131.36389886167601</c:v>
                </c:pt>
                <c:pt idx="12">
                  <c:v>137.3251500316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Trains marchandises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CFF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7.7223439719602798</c:v>
                </c:pt>
                <c:pt idx="1">
                  <c:v>5.8735699675439896</c:v>
                </c:pt>
                <c:pt idx="2">
                  <c:v>6.4581240422764097</c:v>
                </c:pt>
                <c:pt idx="3">
                  <c:v>4.4774258351661702</c:v>
                </c:pt>
                <c:pt idx="4">
                  <c:v>12.283459941328299</c:v>
                </c:pt>
                <c:pt idx="5">
                  <c:v>10.466847510391</c:v>
                </c:pt>
                <c:pt idx="6">
                  <c:v>10.920539159339</c:v>
                </c:pt>
                <c:pt idx="7">
                  <c:v>8.4886647819962793</c:v>
                </c:pt>
                <c:pt idx="8">
                  <c:v>7.1122803165939299</c:v>
                </c:pt>
                <c:pt idx="9">
                  <c:v>25.7655152161431</c:v>
                </c:pt>
                <c:pt idx="10">
                  <c:v>22.986586246359199</c:v>
                </c:pt>
                <c:pt idx="11">
                  <c:v>10.4132562738465</c:v>
                </c:pt>
                <c:pt idx="12">
                  <c:v>23.68138717318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rgbClr val="5A5A5A"/>
            </a:solidFill>
          </a:ln>
        </c:sp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8659</cdr:x>
      <cdr:y>0.02211</cdr:y>
    </cdr:from>
    <cdr:to>
      <cdr:x>0.901</cdr:x>
      <cdr:y>0.05773</cdr:y>
    </cdr:to>
    <cdr:sp macro="" textlink="">
      <cdr:nvSpPr>
        <cdr:cNvPr id="2" name="Textfeld 1">
          <a:extLst xmlns:a="http://schemas.openxmlformats.org/drawingml/2006/main">
            <a:ext uri="{FF2B5EF4-FFF2-40B4-BE49-F238E27FC236}">
              <a16:creationId xmlns:a16="http://schemas.microsoft.com/office/drawing/2014/main" id="{6DAE65E8-CBDA-2540-F003-5040D8687C55}"/>
            </a:ext>
          </a:extLst>
        </cdr:cNvPr>
        <cdr:cNvSpPr txBox="1"/>
      </cdr:nvSpPr>
      <cdr:spPr>
        <a:xfrm xmlns:a="http://schemas.openxmlformats.org/drawingml/2006/main">
          <a:off x="9345165" y="100322"/>
          <a:ext cx="1359346" cy="16158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l"/>
          <a:r>
            <a:rPr lang="fr-FR" sz="1050" dirty="0">
              <a:solidFill>
                <a:schemeClr val="tx2"/>
              </a:solidFill>
            </a:rPr>
            <a:t>Trains par ligne par jour</a:t>
          </a:r>
          <a:endParaRPr lang="de-CH" sz="1050" dirty="0" err="1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tilisation des réseaux ferroviaires en Europe en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7421005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de-CH" sz="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.</a:t>
            </a:r>
            <a:endParaRPr kumimoji="0" lang="de-CH" sz="8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e trains par ligne et par jour sur l’infrastructure ferroviaire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6628A1-5B17-4F15-84F0-F68A39C1A6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tilisation des réseaux ferroviaires en Europe en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ilisation des réseaux ferroviaires en Europe en 2022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28T12:0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